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9" r:id="rId2"/>
    <p:sldId id="260" r:id="rId3"/>
    <p:sldId id="261" r:id="rId4"/>
    <p:sldId id="262" r:id="rId5"/>
    <p:sldId id="263" r:id="rId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90" d="100"/>
          <a:sy n="90" d="100"/>
        </p:scale>
        <p:origin x="-804" y="78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35C48C-D9BD-420F-AEE5-2A2514044563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B224A7-9719-4F33-820F-36ABD316B7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785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99D44E-37C6-4EC9-B750-502A5B15CBB9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GE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98FF2A-2C6D-46E8-B4C1-F8EF999ECC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883285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99D44E-37C6-4EC9-B750-502A5B15CBB9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98FF2A-2C6D-46E8-B4C1-F8EF999ECC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261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99D44E-37C6-4EC9-B750-502A5B15CBB9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98FF2A-2C6D-46E8-B4C1-F8EF999ECC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0191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684954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99D44E-37C6-4EC9-B750-502A5B15CBB9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98FF2A-2C6D-46E8-B4C1-F8EF999ECC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00404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99D44E-37C6-4EC9-B750-502A5B15CBB9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98FF2A-2C6D-46E8-B4C1-F8EF999ECC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0508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99D44E-37C6-4EC9-B750-502A5B15CBB9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98FF2A-2C6D-46E8-B4C1-F8EF999ECC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4566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99D44E-37C6-4EC9-B750-502A5B15CBB9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98FF2A-2C6D-46E8-B4C1-F8EF999ECC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2032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99D44E-37C6-4EC9-B750-502A5B15CBB9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98FF2A-2C6D-46E8-B4C1-F8EF999ECC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3871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99D44E-37C6-4EC9-B750-502A5B15CBB9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98FF2A-2C6D-46E8-B4C1-F8EF999ECC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4581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99D44E-37C6-4EC9-B750-502A5B15CBB9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98FF2A-2C6D-46E8-B4C1-F8EF999ECC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7201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99D44E-37C6-4EC9-B750-502A5B15CBB9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98FF2A-2C6D-46E8-B4C1-F8EF999ECC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217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99D44E-37C6-4EC9-B750-502A5B15CBB9}" type="datetimeFigureOut">
              <a:rPr lang="en-US" smtClean="0"/>
              <a:t>2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GE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98FF2A-2C6D-46E8-B4C1-F8EF999ECC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119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Request Appointment Sequence Diagram</a:t>
            </a:r>
            <a:endParaRPr lang="en-US" sz="3600" dirty="0"/>
          </a:p>
        </p:txBody>
      </p:sp>
      <p:sp>
        <p:nvSpPr>
          <p:cNvPr id="6" name="Rectangle 5"/>
          <p:cNvSpPr/>
          <p:nvPr/>
        </p:nvSpPr>
        <p:spPr>
          <a:xfrm>
            <a:off x="1092200" y="1790700"/>
            <a:ext cx="812800" cy="2921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IEBEL</a:t>
            </a:r>
          </a:p>
        </p:txBody>
      </p:sp>
      <p:cxnSp>
        <p:nvCxnSpPr>
          <p:cNvPr id="8" name="Straight Connector 7"/>
          <p:cNvCxnSpPr>
            <a:stCxn id="6" idx="2"/>
          </p:cNvCxnSpPr>
          <p:nvPr/>
        </p:nvCxnSpPr>
        <p:spPr>
          <a:xfrm>
            <a:off x="1498600" y="2082800"/>
            <a:ext cx="0" cy="420370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3213100" y="1816100"/>
            <a:ext cx="1485900" cy="2921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DT Application</a:t>
            </a:r>
          </a:p>
        </p:txBody>
      </p:sp>
      <p:cxnSp>
        <p:nvCxnSpPr>
          <p:cNvPr id="10" name="Straight Connector 9"/>
          <p:cNvCxnSpPr>
            <a:stCxn id="9" idx="2"/>
          </p:cNvCxnSpPr>
          <p:nvPr/>
        </p:nvCxnSpPr>
        <p:spPr>
          <a:xfrm>
            <a:off x="3956050" y="2108200"/>
            <a:ext cx="0" cy="417830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5359400" y="1714500"/>
            <a:ext cx="1231900" cy="4191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IEBEL API Layer</a:t>
            </a:r>
          </a:p>
        </p:txBody>
      </p:sp>
      <p:cxnSp>
        <p:nvCxnSpPr>
          <p:cNvPr id="12" name="Straight Connector 11"/>
          <p:cNvCxnSpPr>
            <a:stCxn id="11" idx="2"/>
          </p:cNvCxnSpPr>
          <p:nvPr/>
        </p:nvCxnSpPr>
        <p:spPr>
          <a:xfrm>
            <a:off x="5975350" y="2133600"/>
            <a:ext cx="0" cy="341630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6718300" y="1752600"/>
            <a:ext cx="1625600" cy="3937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Click Software </a:t>
            </a:r>
            <a:r>
              <a:rPr lang="en-US" sz="1200" b="1" dirty="0" err="1">
                <a:solidFill>
                  <a:schemeClr val="tx2">
                    <a:lumMod val="50000"/>
                  </a:schemeClr>
                </a:solidFill>
              </a:rPr>
              <a:t>WebService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 Layer</a:t>
            </a:r>
          </a:p>
        </p:txBody>
      </p:sp>
      <p:cxnSp>
        <p:nvCxnSpPr>
          <p:cNvPr id="14" name="Straight Connector 13"/>
          <p:cNvCxnSpPr>
            <a:stCxn id="13" idx="2"/>
          </p:cNvCxnSpPr>
          <p:nvPr/>
        </p:nvCxnSpPr>
        <p:spPr>
          <a:xfrm>
            <a:off x="7531100" y="2146300"/>
            <a:ext cx="0" cy="421640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1435100" y="2400299"/>
            <a:ext cx="139700" cy="3520847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886200" y="2413000"/>
            <a:ext cx="139700" cy="37211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7477124" y="2400300"/>
            <a:ext cx="123825" cy="37338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1574800" y="2819400"/>
            <a:ext cx="2311400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4025900" y="2768600"/>
            <a:ext cx="1879600" cy="4465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 flipH="1">
            <a:off x="4210050" y="2222044"/>
            <a:ext cx="13335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tx2">
                    <a:lumMod val="50000"/>
                  </a:schemeClr>
                </a:solidFill>
              </a:rPr>
              <a:t>Call SIEBEL Query API</a:t>
            </a:r>
          </a:p>
        </p:txBody>
      </p:sp>
      <p:sp>
        <p:nvSpPr>
          <p:cNvPr id="47" name="Rectangle 46"/>
          <p:cNvSpPr/>
          <p:nvPr/>
        </p:nvSpPr>
        <p:spPr>
          <a:xfrm>
            <a:off x="4127500" y="2457138"/>
            <a:ext cx="1778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SERVICE_REQUEST_NUMBER + ACTIVITY_ID </a:t>
            </a:r>
          </a:p>
        </p:txBody>
      </p:sp>
      <p:cxnSp>
        <p:nvCxnSpPr>
          <p:cNvPr id="48" name="Straight Arrow Connector 47"/>
          <p:cNvCxnSpPr/>
          <p:nvPr/>
        </p:nvCxnSpPr>
        <p:spPr>
          <a:xfrm>
            <a:off x="4032250" y="3060700"/>
            <a:ext cx="1879600" cy="4465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4267200" y="2875079"/>
            <a:ext cx="15684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tx2">
                    <a:lumMod val="50000"/>
                  </a:schemeClr>
                </a:solidFill>
              </a:rPr>
              <a:t>Activity Details</a:t>
            </a:r>
          </a:p>
        </p:txBody>
      </p:sp>
      <p:sp>
        <p:nvSpPr>
          <p:cNvPr id="62" name="Rectangle 61"/>
          <p:cNvSpPr/>
          <p:nvPr/>
        </p:nvSpPr>
        <p:spPr>
          <a:xfrm>
            <a:off x="5905500" y="2413000"/>
            <a:ext cx="139700" cy="8128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63" name="Straight Arrow Connector 62"/>
          <p:cNvCxnSpPr/>
          <p:nvPr/>
        </p:nvCxnSpPr>
        <p:spPr>
          <a:xfrm>
            <a:off x="4013200" y="3467100"/>
            <a:ext cx="3448050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/>
          <p:cNvCxnSpPr/>
          <p:nvPr/>
        </p:nvCxnSpPr>
        <p:spPr>
          <a:xfrm>
            <a:off x="4025900" y="3746500"/>
            <a:ext cx="3448050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/>
          <p:cNvSpPr txBox="1"/>
          <p:nvPr/>
        </p:nvSpPr>
        <p:spPr>
          <a:xfrm>
            <a:off x="4552950" y="3242923"/>
            <a:ext cx="13335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tx2">
                    <a:lumMod val="50000"/>
                  </a:schemeClr>
                </a:solidFill>
              </a:rPr>
              <a:t>Site ID , System ID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10050" y="3521867"/>
            <a:ext cx="3251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tx2">
                    <a:lumMod val="50000"/>
                  </a:schemeClr>
                </a:solidFill>
              </a:rPr>
              <a:t>List of same site job &amp; same system jobs, created in Click</a:t>
            </a:r>
          </a:p>
        </p:txBody>
      </p:sp>
      <p:sp>
        <p:nvSpPr>
          <p:cNvPr id="72" name="Rounded Rectangle 71"/>
          <p:cNvSpPr/>
          <p:nvPr/>
        </p:nvSpPr>
        <p:spPr>
          <a:xfrm>
            <a:off x="4552950" y="4092580"/>
            <a:ext cx="1752600" cy="2286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b="1" dirty="0" smtClean="0">
                <a:solidFill>
                  <a:schemeClr val="tx2">
                    <a:lumMod val="50000"/>
                  </a:schemeClr>
                </a:solidFill>
              </a:rPr>
              <a:t>Appointment Request</a:t>
            </a:r>
            <a:endParaRPr lang="en-US" sz="1050" b="1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73" name="Straight Arrow Connector 72"/>
          <p:cNvCxnSpPr/>
          <p:nvPr/>
        </p:nvCxnSpPr>
        <p:spPr>
          <a:xfrm>
            <a:off x="4025900" y="4622800"/>
            <a:ext cx="3448050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/>
          <p:cNvSpPr txBox="1"/>
          <p:nvPr/>
        </p:nvSpPr>
        <p:spPr>
          <a:xfrm>
            <a:off x="4552950" y="4354629"/>
            <a:ext cx="13335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tx2">
                    <a:lumMod val="50000"/>
                  </a:schemeClr>
                </a:solidFill>
              </a:rPr>
              <a:t>Appointment Request</a:t>
            </a:r>
          </a:p>
        </p:txBody>
      </p:sp>
      <p:cxnSp>
        <p:nvCxnSpPr>
          <p:cNvPr id="75" name="Straight Arrow Connector 74"/>
          <p:cNvCxnSpPr/>
          <p:nvPr/>
        </p:nvCxnSpPr>
        <p:spPr>
          <a:xfrm>
            <a:off x="4032250" y="4889500"/>
            <a:ext cx="3448050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/>
          <p:cNvSpPr txBox="1"/>
          <p:nvPr/>
        </p:nvSpPr>
        <p:spPr>
          <a:xfrm>
            <a:off x="4552950" y="4699456"/>
            <a:ext cx="20383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tx2">
                    <a:lumMod val="50000"/>
                  </a:schemeClr>
                </a:solidFill>
              </a:rPr>
              <a:t>List of Appointment slots</a:t>
            </a:r>
          </a:p>
        </p:txBody>
      </p:sp>
      <p:sp>
        <p:nvSpPr>
          <p:cNvPr id="81" name="Rounded Rectangle 80"/>
          <p:cNvSpPr/>
          <p:nvPr/>
        </p:nvSpPr>
        <p:spPr>
          <a:xfrm>
            <a:off x="1689100" y="3078052"/>
            <a:ext cx="1993900" cy="1136422"/>
          </a:xfrm>
          <a:prstGeom prst="roundRect">
            <a:avLst/>
          </a:prstGeom>
          <a:noFill/>
          <a:ln w="3175">
            <a:solidFill>
              <a:schemeClr val="tx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b="1" dirty="0" smtClean="0">
                <a:solidFill>
                  <a:schemeClr val="tx2">
                    <a:lumMod val="50000"/>
                  </a:schemeClr>
                </a:solidFill>
              </a:rPr>
              <a:t>SDT Booking has following detail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b="1" dirty="0" smtClean="0">
                <a:solidFill>
                  <a:schemeClr val="tx2">
                    <a:lumMod val="50000"/>
                  </a:schemeClr>
                </a:solidFill>
              </a:rPr>
              <a:t>Activity Detail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b="1" dirty="0" smtClean="0">
                <a:solidFill>
                  <a:schemeClr val="tx2">
                    <a:lumMod val="50000"/>
                  </a:schemeClr>
                </a:solidFill>
              </a:rPr>
              <a:t>List of visits  which are already there in Click for same Site I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List of visits  which are already there in Click for same </a:t>
            </a:r>
            <a:r>
              <a:rPr lang="en-US" sz="800" b="1" dirty="0" smtClean="0">
                <a:solidFill>
                  <a:schemeClr val="tx2">
                    <a:lumMod val="50000"/>
                  </a:schemeClr>
                </a:solidFill>
              </a:rPr>
              <a:t>System ID</a:t>
            </a:r>
            <a:endParaRPr lang="en-US" sz="8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50" b="1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05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3" name="Rounded Rectangle 82"/>
          <p:cNvSpPr/>
          <p:nvPr/>
        </p:nvSpPr>
        <p:spPr>
          <a:xfrm>
            <a:off x="4394200" y="5229225"/>
            <a:ext cx="2212975" cy="2286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b="1" dirty="0" smtClean="0">
                <a:solidFill>
                  <a:schemeClr val="tx2">
                    <a:lumMod val="50000"/>
                  </a:schemeClr>
                </a:solidFill>
              </a:rPr>
              <a:t>Visit(Task) Creation Flow</a:t>
            </a:r>
            <a:endParaRPr lang="en-US" sz="105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619250" y="2423240"/>
            <a:ext cx="21336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b="1" dirty="0">
                <a:solidFill>
                  <a:schemeClr val="tx2">
                    <a:lumMod val="50000"/>
                  </a:schemeClr>
                </a:solidFill>
              </a:rPr>
              <a:t>SR No + SYSTEM_ID + ACTIVITY_ID + </a:t>
            </a:r>
          </a:p>
          <a:p>
            <a:pPr algn="ctr"/>
            <a:r>
              <a:rPr lang="en-US" sz="800" b="1" dirty="0" smtClean="0">
                <a:solidFill>
                  <a:schemeClr val="tx2">
                    <a:lumMod val="50000"/>
                  </a:schemeClr>
                </a:solidFill>
              </a:rPr>
              <a:t>SHIP_TO_SITE</a:t>
            </a:r>
            <a:endParaRPr lang="en-US" sz="8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5" name="Rounded Rectangle 84"/>
          <p:cNvSpPr/>
          <p:nvPr/>
        </p:nvSpPr>
        <p:spPr>
          <a:xfrm>
            <a:off x="1809750" y="2209800"/>
            <a:ext cx="1752600" cy="2286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b="1" dirty="0">
                <a:solidFill>
                  <a:schemeClr val="tx2">
                    <a:lumMod val="50000"/>
                  </a:schemeClr>
                </a:solidFill>
              </a:rPr>
              <a:t>SDT Book Appointment</a:t>
            </a:r>
          </a:p>
        </p:txBody>
      </p:sp>
      <p:pic>
        <p:nvPicPr>
          <p:cNvPr id="87" name="Picture 8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075" y="1632027"/>
            <a:ext cx="384175" cy="384175"/>
          </a:xfrm>
          <a:prstGeom prst="rect">
            <a:avLst/>
          </a:prstGeom>
        </p:spPr>
      </p:pic>
      <p:sp>
        <p:nvSpPr>
          <p:cNvPr id="91" name="Rectangle 90"/>
          <p:cNvSpPr/>
          <p:nvPr/>
        </p:nvSpPr>
        <p:spPr>
          <a:xfrm>
            <a:off x="0" y="2069877"/>
            <a:ext cx="72707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b="1" dirty="0" smtClean="0">
                <a:solidFill>
                  <a:schemeClr val="tx2">
                    <a:lumMod val="50000"/>
                  </a:schemeClr>
                </a:solidFill>
              </a:rPr>
              <a:t>CSC Agent</a:t>
            </a:r>
            <a:endParaRPr lang="en-US" sz="800" b="1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39" name="Straight Arrow Connector 38"/>
          <p:cNvCxnSpPr/>
          <p:nvPr/>
        </p:nvCxnSpPr>
        <p:spPr>
          <a:xfrm>
            <a:off x="4035425" y="5737225"/>
            <a:ext cx="3448050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4041775" y="6042025"/>
            <a:ext cx="3448050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5035550" y="5499328"/>
            <a:ext cx="13335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err="1" smtClean="0">
                <a:solidFill>
                  <a:schemeClr val="tx2">
                    <a:lumMod val="50000"/>
                  </a:schemeClr>
                </a:solidFill>
              </a:rPr>
              <a:t>ProcessTask</a:t>
            </a:r>
            <a:endParaRPr lang="en-US" sz="800" b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981575" y="5813425"/>
            <a:ext cx="13335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err="1" smtClean="0">
                <a:solidFill>
                  <a:schemeClr val="tx2">
                    <a:lumMod val="50000"/>
                  </a:schemeClr>
                </a:solidFill>
              </a:rPr>
              <a:t>ProcessTask</a:t>
            </a:r>
            <a:r>
              <a:rPr lang="en-US" sz="800" b="1" dirty="0" smtClean="0">
                <a:solidFill>
                  <a:schemeClr val="tx2">
                    <a:lumMod val="50000"/>
                  </a:schemeClr>
                </a:solidFill>
              </a:rPr>
              <a:t> Response </a:t>
            </a:r>
          </a:p>
        </p:txBody>
      </p:sp>
    </p:spTree>
    <p:extLst>
      <p:ext uri="{BB962C8B-B14F-4D97-AF65-F5344CB8AC3E}">
        <p14:creationId xmlns:p14="http://schemas.microsoft.com/office/powerpoint/2010/main" val="189022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133600" y="164068"/>
            <a:ext cx="51902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Create Visit Without Appointment </a:t>
            </a:r>
            <a:r>
              <a:rPr lang="en-US" dirty="0"/>
              <a:t>Sequence Diagram</a:t>
            </a:r>
          </a:p>
        </p:txBody>
      </p:sp>
      <p:sp>
        <p:nvSpPr>
          <p:cNvPr id="4" name="Rectangle 3"/>
          <p:cNvSpPr/>
          <p:nvPr/>
        </p:nvSpPr>
        <p:spPr>
          <a:xfrm>
            <a:off x="304800" y="1447800"/>
            <a:ext cx="1485900" cy="2921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DT Application</a:t>
            </a:r>
          </a:p>
        </p:txBody>
      </p:sp>
      <p:cxnSp>
        <p:nvCxnSpPr>
          <p:cNvPr id="5" name="Straight Connector 4"/>
          <p:cNvCxnSpPr>
            <a:stCxn id="4" idx="2"/>
          </p:cNvCxnSpPr>
          <p:nvPr/>
        </p:nvCxnSpPr>
        <p:spPr>
          <a:xfrm>
            <a:off x="1047750" y="1739900"/>
            <a:ext cx="0" cy="435610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977900" y="2044700"/>
            <a:ext cx="139700" cy="37211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384425" y="2044700"/>
            <a:ext cx="139700" cy="32131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1117600" y="2286000"/>
            <a:ext cx="1266825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1117600" y="2667000"/>
            <a:ext cx="1266825" cy="4465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 flipH="1">
            <a:off x="1816100" y="1831975"/>
            <a:ext cx="12763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err="1" smtClean="0">
                <a:solidFill>
                  <a:schemeClr val="tx2">
                    <a:lumMod val="50000"/>
                  </a:schemeClr>
                </a:solidFill>
              </a:rPr>
              <a:t>SystemDependencoes</a:t>
            </a:r>
            <a:r>
              <a:rPr lang="en-US" sz="800" b="1" dirty="0" smtClean="0">
                <a:solidFill>
                  <a:schemeClr val="tx2">
                    <a:lumMod val="50000"/>
                  </a:schemeClr>
                </a:solidFill>
              </a:rPr>
              <a:t>()</a:t>
            </a:r>
          </a:p>
        </p:txBody>
      </p:sp>
      <p:sp>
        <p:nvSpPr>
          <p:cNvPr id="13" name="TextBox 12"/>
          <p:cNvSpPr txBox="1"/>
          <p:nvPr/>
        </p:nvSpPr>
        <p:spPr>
          <a:xfrm flipH="1">
            <a:off x="1341437" y="2711678"/>
            <a:ext cx="8191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tx2">
                    <a:lumMod val="50000"/>
                  </a:schemeClr>
                </a:solidFill>
              </a:rPr>
              <a:t>Return View(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387725" y="3016250"/>
            <a:ext cx="139700" cy="109855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 flipH="1">
            <a:off x="2819400" y="2803525"/>
            <a:ext cx="1676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err="1" smtClean="0">
                <a:solidFill>
                  <a:schemeClr val="tx2">
                    <a:lumMod val="50000"/>
                  </a:schemeClr>
                </a:solidFill>
              </a:rPr>
              <a:t>CreateVisitWithDependencies</a:t>
            </a:r>
            <a:r>
              <a:rPr lang="en-US" sz="800" b="1" dirty="0" smtClean="0">
                <a:solidFill>
                  <a:schemeClr val="tx2">
                    <a:lumMod val="50000"/>
                  </a:schemeClr>
                </a:solidFill>
              </a:rPr>
              <a:t>()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2524125" y="3276600"/>
            <a:ext cx="863600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4629150" y="3489325"/>
            <a:ext cx="139700" cy="7747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 flipH="1">
            <a:off x="3886200" y="3276600"/>
            <a:ext cx="18827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err="1"/>
              <a:t>CreateTaskWithSystemDependencies</a:t>
            </a:r>
            <a:r>
              <a:rPr lang="en-US" sz="800" b="1" dirty="0" smtClean="0">
                <a:solidFill>
                  <a:schemeClr val="tx2">
                    <a:lumMod val="50000"/>
                  </a:schemeClr>
                </a:solidFill>
              </a:rPr>
              <a:t>()</a:t>
            </a:r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3540125" y="3657600"/>
            <a:ext cx="1089025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 flipH="1">
            <a:off x="3790949" y="3657600"/>
            <a:ext cx="5873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err="1" smtClean="0"/>
              <a:t>TaskData</a:t>
            </a:r>
            <a:endParaRPr lang="en-US" sz="800" b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334000" y="2765196"/>
            <a:ext cx="2362200" cy="25105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SERVICE OPTIMIZATION SERVICE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6448425" y="3016249"/>
            <a:ext cx="28575" cy="2901951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6388100" y="3362097"/>
            <a:ext cx="139700" cy="204810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4778375" y="3810000"/>
            <a:ext cx="1609725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 flipH="1">
            <a:off x="4827588" y="3810000"/>
            <a:ext cx="134461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err="1" smtClean="0"/>
              <a:t>ExecuteMultipleOperations</a:t>
            </a:r>
            <a:endParaRPr lang="en-US" sz="800" b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2524125" y="4572000"/>
            <a:ext cx="3863975" cy="4465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>
            <a:off x="1117600" y="4832122"/>
            <a:ext cx="1266825" cy="4465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 flipH="1">
            <a:off x="1341437" y="4876800"/>
            <a:ext cx="8191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tx2">
                    <a:lumMod val="50000"/>
                  </a:schemeClr>
                </a:solidFill>
              </a:rPr>
              <a:t>Return View()</a:t>
            </a:r>
          </a:p>
        </p:txBody>
      </p:sp>
    </p:spTree>
    <p:extLst>
      <p:ext uri="{BB962C8B-B14F-4D97-AF65-F5344CB8AC3E}">
        <p14:creationId xmlns:p14="http://schemas.microsoft.com/office/powerpoint/2010/main" val="8224931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895600" y="128111"/>
            <a:ext cx="30649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 smtClean="0"/>
              <a:t>Cancel Task Sequence Diagram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19811" y="685800"/>
            <a:ext cx="1485900" cy="2921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DT Application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881764" y="990600"/>
            <a:ext cx="0" cy="5586247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811913" y="1132368"/>
            <a:ext cx="150847" cy="5039832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962761" y="1447800"/>
            <a:ext cx="1663329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 flipH="1">
            <a:off x="1156250" y="1146920"/>
            <a:ext cx="12763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err="1" smtClean="0">
                <a:solidFill>
                  <a:schemeClr val="tx2">
                    <a:lumMod val="50000"/>
                  </a:schemeClr>
                </a:solidFill>
              </a:rPr>
              <a:t>CancelTask</a:t>
            </a:r>
            <a:endParaRPr lang="en-US" sz="800" b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2695940" y="977900"/>
            <a:ext cx="0" cy="565150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2626090" y="1143000"/>
            <a:ext cx="139700" cy="50292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794425" y="698500"/>
            <a:ext cx="3006175" cy="2921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tx2">
                    <a:lumMod val="50000"/>
                  </a:schemeClr>
                </a:solidFill>
              </a:rPr>
              <a:t>RequestAppointmentBookingController.cs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 flipH="1">
            <a:off x="2895600" y="1132368"/>
            <a:ext cx="21336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err="1"/>
              <a:t>ActionResult</a:t>
            </a:r>
            <a:r>
              <a:rPr lang="en-US" sz="800" dirty="0"/>
              <a:t> </a:t>
            </a:r>
            <a:r>
              <a:rPr lang="en-US" sz="800" dirty="0" err="1"/>
              <a:t>CancelTask</a:t>
            </a:r>
            <a:r>
              <a:rPr lang="en-US" sz="800" dirty="0"/>
              <a:t>(string </a:t>
            </a:r>
            <a:r>
              <a:rPr lang="en-US" sz="800" dirty="0" err="1"/>
              <a:t>CancelReason</a:t>
            </a:r>
            <a:r>
              <a:rPr lang="en-US" sz="800" dirty="0"/>
              <a:t>)</a:t>
            </a:r>
            <a:endParaRPr lang="en-US" sz="800" b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5492750" y="967267"/>
            <a:ext cx="0" cy="560958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4946054" y="687867"/>
            <a:ext cx="1421111" cy="2921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200" b="1" dirty="0" err="1">
                <a:solidFill>
                  <a:schemeClr val="tx2">
                    <a:lumMod val="50000"/>
                  </a:schemeClr>
                </a:solidFill>
              </a:rPr>
              <a:t>CallClickService.cs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422900" y="1132368"/>
            <a:ext cx="139700" cy="5039832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2764742" y="1438940"/>
            <a:ext cx="2658158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6476999" y="676940"/>
            <a:ext cx="1371601" cy="2921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200" b="1" dirty="0" err="1">
                <a:solidFill>
                  <a:schemeClr val="tx2">
                    <a:lumMod val="50000"/>
                  </a:schemeClr>
                </a:solidFill>
              </a:rPr>
              <a:t>CallClickService.cs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 flipH="1">
            <a:off x="7243542" y="981819"/>
            <a:ext cx="1808" cy="5647581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7175500" y="1146920"/>
            <a:ext cx="139700" cy="502528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 flipV="1">
            <a:off x="5562600" y="1447800"/>
            <a:ext cx="1612900" cy="3545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 flipH="1">
            <a:off x="5612219" y="1090682"/>
            <a:ext cx="16313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err="1"/>
              <a:t>ActionResult</a:t>
            </a:r>
            <a:r>
              <a:rPr lang="en-US" sz="800" dirty="0"/>
              <a:t> </a:t>
            </a:r>
            <a:r>
              <a:rPr lang="en-US" sz="800" dirty="0" err="1"/>
              <a:t>CancelTask</a:t>
            </a:r>
            <a:r>
              <a:rPr lang="en-US" sz="800" dirty="0"/>
              <a:t>(string </a:t>
            </a:r>
            <a:r>
              <a:rPr lang="en-US" sz="800" dirty="0" err="1"/>
              <a:t>CancelReason</a:t>
            </a:r>
            <a:r>
              <a:rPr lang="en-US" sz="800" dirty="0"/>
              <a:t>)</a:t>
            </a:r>
            <a:endParaRPr lang="en-US" sz="800" b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7919484" y="671622"/>
            <a:ext cx="1219200" cy="2921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900" b="1" dirty="0">
                <a:solidFill>
                  <a:schemeClr val="tx2">
                    <a:lumMod val="50000"/>
                  </a:schemeClr>
                </a:solidFill>
              </a:rPr>
              <a:t>ScheduleServiceDev1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8872203" y="963722"/>
            <a:ext cx="0" cy="5613125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8802353" y="1090682"/>
            <a:ext cx="139700" cy="508151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34" name="Straight Arrow Connector 33"/>
          <p:cNvCxnSpPr/>
          <p:nvPr/>
        </p:nvCxnSpPr>
        <p:spPr>
          <a:xfrm flipV="1">
            <a:off x="7327381" y="1458435"/>
            <a:ext cx="1474972" cy="1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 flipH="1">
            <a:off x="7391360" y="1023809"/>
            <a:ext cx="134701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err="1" smtClean="0"/>
              <a:t>OptionalParameters</a:t>
            </a:r>
            <a:r>
              <a:rPr lang="en-US" sz="700" dirty="0"/>
              <a:t>() { </a:t>
            </a:r>
            <a:r>
              <a:rPr lang="en-US" sz="700" dirty="0" err="1"/>
              <a:t>CallerIdentity</a:t>
            </a:r>
            <a:r>
              <a:rPr lang="en-US" sz="700" dirty="0"/>
              <a:t> = "MUST" </a:t>
            </a:r>
            <a:r>
              <a:rPr lang="en-US" sz="700" dirty="0" smtClean="0"/>
              <a:t>};</a:t>
            </a:r>
          </a:p>
          <a:p>
            <a:r>
              <a:rPr lang="en-US" sz="700" dirty="0" smtClean="0"/>
              <a:t>ScheduleServiceDev1.Task();</a:t>
            </a:r>
            <a:endParaRPr lang="en-US" sz="700" dirty="0"/>
          </a:p>
        </p:txBody>
      </p:sp>
      <p:cxnSp>
        <p:nvCxnSpPr>
          <p:cNvPr id="37" name="Straight Arrow Connector 36"/>
          <p:cNvCxnSpPr/>
          <p:nvPr/>
        </p:nvCxnSpPr>
        <p:spPr>
          <a:xfrm flipV="1">
            <a:off x="7313205" y="1981200"/>
            <a:ext cx="1474972" cy="1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 flipH="1">
            <a:off x="7377184" y="1472625"/>
            <a:ext cx="13470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err="1" smtClean="0"/>
              <a:t>GEHCCancellationReasonReference</a:t>
            </a:r>
            <a:r>
              <a:rPr lang="en-US" sz="800" dirty="0"/>
              <a:t>() { Name = </a:t>
            </a:r>
            <a:r>
              <a:rPr lang="en-US" sz="800" dirty="0" err="1"/>
              <a:t>CancelReason</a:t>
            </a:r>
            <a:r>
              <a:rPr lang="en-US" sz="800" dirty="0"/>
              <a:t> };</a:t>
            </a:r>
          </a:p>
          <a:p>
            <a:r>
              <a:rPr lang="en-US" sz="800" dirty="0"/>
              <a:t> </a:t>
            </a:r>
          </a:p>
        </p:txBody>
      </p:sp>
      <p:cxnSp>
        <p:nvCxnSpPr>
          <p:cNvPr id="39" name="Straight Arrow Connector 38"/>
          <p:cNvCxnSpPr/>
          <p:nvPr/>
        </p:nvCxnSpPr>
        <p:spPr>
          <a:xfrm flipV="1">
            <a:off x="7298844" y="2514600"/>
            <a:ext cx="1503509" cy="2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 flipH="1">
            <a:off x="7362823" y="2057400"/>
            <a:ext cx="13470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err="1" smtClean="0"/>
              <a:t>GEHCRejectionReasonReference</a:t>
            </a:r>
            <a:r>
              <a:rPr lang="en-US" sz="800" dirty="0"/>
              <a:t>() { Name = "Other" };</a:t>
            </a:r>
          </a:p>
        </p:txBody>
      </p:sp>
      <p:cxnSp>
        <p:nvCxnSpPr>
          <p:cNvPr id="42" name="Straight Arrow Connector 41"/>
          <p:cNvCxnSpPr/>
          <p:nvPr/>
        </p:nvCxnSpPr>
        <p:spPr>
          <a:xfrm flipV="1">
            <a:off x="7298844" y="3012784"/>
            <a:ext cx="1503509" cy="2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 flipH="1">
            <a:off x="7362823" y="2555584"/>
            <a:ext cx="13470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err="1" smtClean="0"/>
              <a:t>GEHCIncompleteReasonReference</a:t>
            </a:r>
            <a:r>
              <a:rPr lang="en-US" sz="800" dirty="0"/>
              <a:t>() { Name = </a:t>
            </a:r>
            <a:r>
              <a:rPr lang="en-US" sz="800" dirty="0" err="1"/>
              <a:t>CancelReason</a:t>
            </a:r>
            <a:r>
              <a:rPr lang="en-US" sz="800" dirty="0"/>
              <a:t> </a:t>
            </a:r>
            <a:r>
              <a:rPr lang="en-US" sz="800" dirty="0" smtClean="0"/>
              <a:t>};</a:t>
            </a:r>
            <a:endParaRPr lang="en-US" sz="800" dirty="0"/>
          </a:p>
        </p:txBody>
      </p:sp>
      <p:cxnSp>
        <p:nvCxnSpPr>
          <p:cNvPr id="44" name="Straight Arrow Connector 43"/>
          <p:cNvCxnSpPr/>
          <p:nvPr/>
        </p:nvCxnSpPr>
        <p:spPr>
          <a:xfrm flipV="1">
            <a:off x="7327381" y="3429000"/>
            <a:ext cx="1503509" cy="2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 flipH="1">
            <a:off x="7391360" y="3048000"/>
            <a:ext cx="13470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err="1" smtClean="0"/>
              <a:t>TaskStatusReference</a:t>
            </a:r>
            <a:r>
              <a:rPr lang="en-US" sz="800" dirty="0"/>
              <a:t>() { Name = </a:t>
            </a:r>
            <a:r>
              <a:rPr lang="en-US" sz="800" dirty="0" err="1"/>
              <a:t>taskStatus</a:t>
            </a:r>
            <a:r>
              <a:rPr lang="en-US" sz="800" dirty="0"/>
              <a:t> };</a:t>
            </a:r>
          </a:p>
        </p:txBody>
      </p:sp>
      <p:cxnSp>
        <p:nvCxnSpPr>
          <p:cNvPr id="46" name="Straight Arrow Connector 45"/>
          <p:cNvCxnSpPr/>
          <p:nvPr/>
        </p:nvCxnSpPr>
        <p:spPr>
          <a:xfrm flipV="1">
            <a:off x="7315200" y="3886200"/>
            <a:ext cx="1503509" cy="2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 flipH="1">
            <a:off x="7379179" y="3424535"/>
            <a:ext cx="13470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err="1"/>
              <a:t>var</a:t>
            </a:r>
            <a:r>
              <a:rPr lang="en-US" sz="800" dirty="0"/>
              <a:t> </a:t>
            </a:r>
            <a:r>
              <a:rPr lang="en-US" sz="800" dirty="0" err="1"/>
              <a:t>cancelStatus</a:t>
            </a:r>
            <a:r>
              <a:rPr lang="en-US" sz="800" dirty="0"/>
              <a:t> = </a:t>
            </a:r>
            <a:r>
              <a:rPr lang="en-US" sz="800" dirty="0" err="1"/>
              <a:t>ScheduleService.ProcessTaskEx</a:t>
            </a:r>
            <a:r>
              <a:rPr lang="en-US" sz="800" dirty="0" smtClean="0"/>
              <a:t>();</a:t>
            </a:r>
            <a:endParaRPr lang="en-US" sz="800" dirty="0"/>
          </a:p>
        </p:txBody>
      </p:sp>
      <p:cxnSp>
        <p:nvCxnSpPr>
          <p:cNvPr id="48" name="Straight Arrow Connector 47"/>
          <p:cNvCxnSpPr/>
          <p:nvPr/>
        </p:nvCxnSpPr>
        <p:spPr>
          <a:xfrm flipV="1">
            <a:off x="7315200" y="4398797"/>
            <a:ext cx="1503509" cy="2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 flipH="1">
            <a:off x="7379179" y="3937132"/>
            <a:ext cx="13470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err="1"/>
              <a:t>ScheduleService.ProcessTaskEx</a:t>
            </a:r>
            <a:r>
              <a:rPr lang="en-US" sz="800" dirty="0" smtClean="0"/>
              <a:t>();</a:t>
            </a:r>
            <a:endParaRPr lang="en-US" sz="800" dirty="0"/>
          </a:p>
        </p:txBody>
      </p:sp>
      <p:cxnSp>
        <p:nvCxnSpPr>
          <p:cNvPr id="56" name="Straight Arrow Connector 55"/>
          <p:cNvCxnSpPr/>
          <p:nvPr/>
        </p:nvCxnSpPr>
        <p:spPr>
          <a:xfrm flipV="1">
            <a:off x="7315200" y="4953000"/>
            <a:ext cx="1503509" cy="2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 flipH="1">
            <a:off x="7379179" y="4491335"/>
            <a:ext cx="13470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err="1"/>
              <a:t>ScheduleService.ProcessTaskEx</a:t>
            </a:r>
            <a:r>
              <a:rPr lang="en-US" sz="800" dirty="0" smtClean="0"/>
              <a:t>();</a:t>
            </a:r>
            <a:endParaRPr lang="en-US" sz="800" dirty="0"/>
          </a:p>
        </p:txBody>
      </p:sp>
      <p:cxnSp>
        <p:nvCxnSpPr>
          <p:cNvPr id="58" name="Straight Arrow Connector 57"/>
          <p:cNvCxnSpPr/>
          <p:nvPr/>
        </p:nvCxnSpPr>
        <p:spPr>
          <a:xfrm flipV="1">
            <a:off x="7315200" y="5410200"/>
            <a:ext cx="1503509" cy="2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 flipH="1">
            <a:off x="7379179" y="5024735"/>
            <a:ext cx="13470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err="1"/>
              <a:t>ScheduleService.ProcessTaskEx</a:t>
            </a:r>
            <a:r>
              <a:rPr lang="en-US" sz="800" dirty="0" smtClean="0"/>
              <a:t>();</a:t>
            </a:r>
            <a:endParaRPr lang="en-US" sz="800" dirty="0"/>
          </a:p>
        </p:txBody>
      </p:sp>
      <p:cxnSp>
        <p:nvCxnSpPr>
          <p:cNvPr id="63" name="Straight Arrow Connector 62"/>
          <p:cNvCxnSpPr/>
          <p:nvPr/>
        </p:nvCxnSpPr>
        <p:spPr>
          <a:xfrm flipH="1">
            <a:off x="7327381" y="6021572"/>
            <a:ext cx="1474972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 flipH="1">
            <a:off x="7634228" y="5769184"/>
            <a:ext cx="9763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return bool value;</a:t>
            </a:r>
          </a:p>
        </p:txBody>
      </p:sp>
      <p:cxnSp>
        <p:nvCxnSpPr>
          <p:cNvPr id="67" name="Straight Arrow Connector 66"/>
          <p:cNvCxnSpPr/>
          <p:nvPr/>
        </p:nvCxnSpPr>
        <p:spPr>
          <a:xfrm flipH="1">
            <a:off x="5562600" y="6021572"/>
            <a:ext cx="1612900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 flipH="1">
            <a:off x="5605202" y="5599907"/>
            <a:ext cx="15239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return </a:t>
            </a:r>
            <a:r>
              <a:rPr lang="en-US" sz="800" dirty="0" err="1"/>
              <a:t>Json</a:t>
            </a:r>
            <a:r>
              <a:rPr lang="en-US" sz="800" dirty="0"/>
              <a:t>(new {message = </a:t>
            </a:r>
            <a:r>
              <a:rPr lang="en-US" sz="800" dirty="0" err="1"/>
              <a:t>cancelStatus</a:t>
            </a:r>
            <a:r>
              <a:rPr lang="en-US" sz="800" dirty="0"/>
              <a:t>});	</a:t>
            </a:r>
          </a:p>
        </p:txBody>
      </p:sp>
      <p:cxnSp>
        <p:nvCxnSpPr>
          <p:cNvPr id="70" name="Straight Arrow Connector 69"/>
          <p:cNvCxnSpPr/>
          <p:nvPr/>
        </p:nvCxnSpPr>
        <p:spPr>
          <a:xfrm flipH="1">
            <a:off x="2764743" y="6021572"/>
            <a:ext cx="2658157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 flipH="1">
            <a:off x="2985977" y="5715000"/>
            <a:ext cx="23480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return </a:t>
            </a:r>
            <a:r>
              <a:rPr lang="en-US" sz="800" dirty="0" err="1"/>
              <a:t>Json</a:t>
            </a:r>
            <a:r>
              <a:rPr lang="en-US" sz="800" dirty="0"/>
              <a:t>(new {message = </a:t>
            </a:r>
            <a:r>
              <a:rPr lang="en-US" sz="800" dirty="0" err="1"/>
              <a:t>cancelStatus</a:t>
            </a:r>
            <a:r>
              <a:rPr lang="en-US" sz="800" dirty="0"/>
              <a:t>});	</a:t>
            </a:r>
          </a:p>
        </p:txBody>
      </p:sp>
      <p:cxnSp>
        <p:nvCxnSpPr>
          <p:cNvPr id="75" name="Straight Arrow Connector 74"/>
          <p:cNvCxnSpPr/>
          <p:nvPr/>
        </p:nvCxnSpPr>
        <p:spPr>
          <a:xfrm flipH="1">
            <a:off x="962761" y="6021572"/>
            <a:ext cx="1663329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/>
          <p:cNvSpPr txBox="1"/>
          <p:nvPr/>
        </p:nvSpPr>
        <p:spPr>
          <a:xfrm flipH="1">
            <a:off x="1156250" y="5715000"/>
            <a:ext cx="10744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return </a:t>
            </a:r>
            <a:r>
              <a:rPr lang="en-US" sz="800" dirty="0" smtClean="0"/>
              <a:t>View();</a:t>
            </a:r>
            <a:r>
              <a:rPr lang="en-US" sz="800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6899101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447800" y="1066800"/>
            <a:ext cx="1485900" cy="2921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DT Application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2109753" y="1371600"/>
            <a:ext cx="0" cy="403860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2039902" y="1513368"/>
            <a:ext cx="156014" cy="3211032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6" name="Straight Arrow Connector 5"/>
          <p:cNvCxnSpPr/>
          <p:nvPr/>
        </p:nvCxnSpPr>
        <p:spPr>
          <a:xfrm flipH="1">
            <a:off x="2195916" y="3886200"/>
            <a:ext cx="4196175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 flipH="1">
            <a:off x="2294789" y="1853625"/>
            <a:ext cx="3962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 dirty="0" err="1"/>
              <a:t>SiteDependencies</a:t>
            </a:r>
            <a:r>
              <a:rPr lang="en-US" dirty="0"/>
              <a:t>(</a:t>
            </a:r>
            <a:r>
              <a:rPr lang="en-US" dirty="0"/>
              <a:t>string </a:t>
            </a:r>
            <a:r>
              <a:rPr lang="en-US" dirty="0" err="1"/>
              <a:t>TaskSiteID</a:t>
            </a:r>
            <a:r>
              <a:rPr lang="en-US" dirty="0"/>
              <a:t>, string </a:t>
            </a:r>
            <a:r>
              <a:rPr lang="en-US" dirty="0" err="1"/>
              <a:t>SiteCountActual</a:t>
            </a:r>
            <a:r>
              <a:rPr lang="en-US" dirty="0"/>
              <a:t>, string </a:t>
            </a:r>
            <a:r>
              <a:rPr lang="en-US" dirty="0" err="1"/>
              <a:t>EStart</a:t>
            </a:r>
            <a:r>
              <a:rPr lang="en-US" dirty="0"/>
              <a:t>, string </a:t>
            </a:r>
            <a:r>
              <a:rPr lang="en-US" dirty="0" err="1"/>
              <a:t>LStart</a:t>
            </a:r>
            <a:r>
              <a:rPr lang="en-US" dirty="0"/>
              <a:t>, string Duration, string </a:t>
            </a:r>
            <a:r>
              <a:rPr lang="en-US" dirty="0" err="1"/>
              <a:t>TaskNotes</a:t>
            </a:r>
            <a:r>
              <a:rPr lang="en-US" dirty="0"/>
              <a:t>, string </a:t>
            </a:r>
            <a:r>
              <a:rPr lang="en-US" dirty="0" err="1"/>
              <a:t>DependencyType</a:t>
            </a:r>
            <a:r>
              <a:rPr lang="en-US" dirty="0"/>
              <a:t>,</a:t>
            </a:r>
          </a:p>
          <a:p>
            <a:r>
              <a:rPr lang="en-US" dirty="0"/>
              <a:t>            List&lt;List&lt;Array&gt;&gt; </a:t>
            </a:r>
            <a:r>
              <a:rPr lang="en-US" dirty="0" err="1"/>
              <a:t>addressArray</a:t>
            </a:r>
            <a:r>
              <a:rPr lang="en-US" dirty="0"/>
              <a:t>, string Profile, string SSOFse1, string </a:t>
            </a:r>
            <a:r>
              <a:rPr lang="en-US" dirty="0" err="1"/>
              <a:t>fseSkill</a:t>
            </a:r>
            <a:r>
              <a:rPr lang="en-US" dirty="0"/>
              <a:t>, string </a:t>
            </a:r>
            <a:r>
              <a:rPr lang="en-US" dirty="0" err="1"/>
              <a:t>IsRequiredfse</a:t>
            </a:r>
            <a:r>
              <a:rPr lang="en-US" dirty="0"/>
              <a:t>, string </a:t>
            </a:r>
            <a:r>
              <a:rPr lang="en-US" dirty="0" err="1"/>
              <a:t>JobType</a:t>
            </a:r>
            <a:r>
              <a:rPr lang="en-US" dirty="0"/>
              <a:t>)</a:t>
            </a:r>
          </a:p>
        </p:txBody>
      </p:sp>
      <p:sp>
        <p:nvSpPr>
          <p:cNvPr id="8" name="Rectangle 7"/>
          <p:cNvSpPr/>
          <p:nvPr/>
        </p:nvSpPr>
        <p:spPr>
          <a:xfrm>
            <a:off x="2668507" y="87868"/>
            <a:ext cx="39608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 smtClean="0"/>
              <a:t>Get Site Dependency Sequence Diagram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5799988" y="1079500"/>
            <a:ext cx="1485900" cy="2921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tx2">
                    <a:lumMod val="50000"/>
                  </a:schemeClr>
                </a:solidFill>
              </a:rPr>
              <a:t>SiteController.cs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6461942" y="1371600"/>
            <a:ext cx="5572" cy="403860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6392091" y="1513368"/>
            <a:ext cx="150847" cy="3211032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6542938" y="1828800"/>
            <a:ext cx="857251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7400189" y="1828800"/>
            <a:ext cx="0" cy="106680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>
            <a:off x="6542938" y="2895600"/>
            <a:ext cx="857251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 flipH="1">
            <a:off x="7552589" y="2146756"/>
            <a:ext cx="12192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 dirty="0" err="1" smtClean="0"/>
              <a:t>SiteDependencies</a:t>
            </a:r>
            <a:r>
              <a:rPr lang="en-US" dirty="0" smtClean="0"/>
              <a:t>();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 flipH="1">
            <a:off x="3896496" y="4075822"/>
            <a:ext cx="12192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 dirty="0" smtClean="0"/>
              <a:t>return View()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642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447800" y="1066800"/>
            <a:ext cx="1485900" cy="2921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DT Application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2109753" y="1371600"/>
            <a:ext cx="0" cy="403860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2039902" y="1513368"/>
            <a:ext cx="156014" cy="3211032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6" name="Straight Arrow Connector 5"/>
          <p:cNvCxnSpPr/>
          <p:nvPr/>
        </p:nvCxnSpPr>
        <p:spPr>
          <a:xfrm flipH="1">
            <a:off x="2195916" y="3886200"/>
            <a:ext cx="4196175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 flipH="1">
            <a:off x="2294789" y="1853625"/>
            <a:ext cx="3962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 dirty="0" err="1"/>
              <a:t>SystemDependencies</a:t>
            </a:r>
            <a:r>
              <a:rPr lang="en-US" dirty="0"/>
              <a:t>(string </a:t>
            </a:r>
            <a:r>
              <a:rPr lang="en-US" dirty="0" err="1"/>
              <a:t>TaskSystemID</a:t>
            </a:r>
            <a:r>
              <a:rPr lang="en-US" dirty="0"/>
              <a:t>, string </a:t>
            </a:r>
            <a:r>
              <a:rPr lang="en-US" dirty="0" err="1"/>
              <a:t>SystemCountActual</a:t>
            </a:r>
            <a:r>
              <a:rPr lang="en-US" dirty="0"/>
              <a:t>, string </a:t>
            </a:r>
            <a:r>
              <a:rPr lang="en-US" dirty="0" err="1"/>
              <a:t>EStart</a:t>
            </a:r>
            <a:r>
              <a:rPr lang="en-US" dirty="0"/>
              <a:t>, string </a:t>
            </a:r>
            <a:r>
              <a:rPr lang="en-US" dirty="0" err="1"/>
              <a:t>LStart</a:t>
            </a:r>
            <a:r>
              <a:rPr lang="en-US" dirty="0"/>
              <a:t>, string Duration, string </a:t>
            </a:r>
            <a:r>
              <a:rPr lang="en-US" dirty="0" err="1"/>
              <a:t>TaskNotes</a:t>
            </a:r>
            <a:r>
              <a:rPr lang="en-US" dirty="0"/>
              <a:t>, string </a:t>
            </a:r>
            <a:r>
              <a:rPr lang="en-US" dirty="0" err="1"/>
              <a:t>DependencyType</a:t>
            </a:r>
            <a:r>
              <a:rPr lang="en-US" dirty="0"/>
              <a:t>,</a:t>
            </a:r>
          </a:p>
          <a:p>
            <a:r>
              <a:rPr lang="en-US" dirty="0"/>
              <a:t>           List&lt;List&lt;Array&gt;&gt; </a:t>
            </a:r>
            <a:r>
              <a:rPr lang="en-US" dirty="0" err="1"/>
              <a:t>addressArray</a:t>
            </a:r>
            <a:r>
              <a:rPr lang="en-US" dirty="0"/>
              <a:t>, string Profile, string SSOFse1, string </a:t>
            </a:r>
            <a:r>
              <a:rPr lang="en-US" dirty="0" err="1"/>
              <a:t>fseSkill</a:t>
            </a:r>
            <a:r>
              <a:rPr lang="en-US" dirty="0"/>
              <a:t>, string </a:t>
            </a:r>
            <a:r>
              <a:rPr lang="en-US" dirty="0" err="1"/>
              <a:t>IsRequiredfse</a:t>
            </a:r>
            <a:r>
              <a:rPr lang="en-US" dirty="0"/>
              <a:t>, string </a:t>
            </a:r>
            <a:r>
              <a:rPr lang="en-US" dirty="0" err="1"/>
              <a:t>JobType</a:t>
            </a:r>
            <a:r>
              <a:rPr lang="en-US" dirty="0"/>
              <a:t>)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2509555" y="87868"/>
            <a:ext cx="42788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 smtClean="0"/>
              <a:t>Get System Dependency Sequence Diagram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5799988" y="1079500"/>
            <a:ext cx="1485900" cy="2921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 err="1" smtClean="0">
                <a:solidFill>
                  <a:schemeClr val="tx2">
                    <a:lumMod val="50000"/>
                  </a:schemeClr>
                </a:solidFill>
              </a:rPr>
              <a:t>SystemController.cs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6461942" y="1371600"/>
            <a:ext cx="5572" cy="403860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6392091" y="1513368"/>
            <a:ext cx="150847" cy="3211032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6542938" y="1828800"/>
            <a:ext cx="857251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7400189" y="1828800"/>
            <a:ext cx="0" cy="106680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6542938" y="2895600"/>
            <a:ext cx="857251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 flipH="1">
            <a:off x="7552589" y="2146756"/>
            <a:ext cx="12192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 dirty="0" err="1"/>
              <a:t>SystemDependencies</a:t>
            </a:r>
            <a:r>
              <a:rPr lang="en-US" dirty="0" smtClean="0"/>
              <a:t>();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 flipH="1">
            <a:off x="3896496" y="4075822"/>
            <a:ext cx="12192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 dirty="0" smtClean="0"/>
              <a:t>return View()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6590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7</TotalTime>
  <Words>328</Words>
  <Application>Microsoft Office PowerPoint</Application>
  <PresentationFormat>On-screen Show (4:3)</PresentationFormat>
  <Paragraphs>72</Paragraphs>
  <Slides>5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Office Theme</vt:lpstr>
      <vt:lpstr>think-cell Slide</vt:lpstr>
      <vt:lpstr>Request Appointment Sequence Diagram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DT Booking Sequence Diagram</dc:title>
  <dc:creator>Tejashree Bhagat</dc:creator>
  <cp:lastModifiedBy>Deepak Vishwakarma</cp:lastModifiedBy>
  <cp:revision>47</cp:revision>
  <dcterms:created xsi:type="dcterms:W3CDTF">2017-01-25T06:11:02Z</dcterms:created>
  <dcterms:modified xsi:type="dcterms:W3CDTF">2017-02-13T21:52:17Z</dcterms:modified>
</cp:coreProperties>
</file>